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0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1.xml" ContentType="application/vnd.openxmlformats-officedocument.presentationml.tags+xml"/>
  <Override PartName="/ppt/notesSlides/notesSlide10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2" r:id="rId10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00.xml" Id="rId103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0.xml.rels>&#65279;<?xml version="1.0" encoding="utf-8"?><Relationships xmlns="http://schemas.openxmlformats.org/package/2006/relationships"><Relationship Type="http://schemas.openxmlformats.org/officeDocument/2006/relationships/slide" Target="/ppt/slides/slide100.xml" Id="rId2" /><Relationship Type="http://schemas.openxmlformats.org/officeDocument/2006/relationships/notesMaster" Target="/ppt/notesMasters/notesMaster1.xml" Id="rId1" /></Relationship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3770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0.xml.rels>&#65279;<?xml version="1.0" encoding="utf-8"?><Relationships xmlns="http://schemas.openxmlformats.org/package/2006/relationships"><Relationship Type="http://schemas.openxmlformats.org/officeDocument/2006/relationships/image" Target="/ppt/media/image54.svg" Id="rId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53.png" Id="rId7" /><Relationship Type="http://schemas.openxmlformats.org/officeDocument/2006/relationships/tags" Target="/ppt/tags/tag341.xml" Id="rId2" /><Relationship Type="http://schemas.openxmlformats.org/officeDocument/2006/relationships/vmlDrawing" Target="/ppt/drawings/vmlDrawing10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04.bin" Id="rId5" /><Relationship Type="http://schemas.openxmlformats.org/officeDocument/2006/relationships/image" Target="/ppt/media/image8.svg" Id="rId10" /><Relationship Type="http://schemas.openxmlformats.org/officeDocument/2006/relationships/notesSlide" Target="/ppt/notesSlides/notesSlide100.xml" Id="rId4" /><Relationship Type="http://schemas.openxmlformats.org/officeDocument/2006/relationships/image" Target="/ppt/media/image7.png" Id="rId9" /></Relationships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760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FC3D5ABF-FF92-68F0-74A5-1F7AB275D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rocess puzzle</a:t>
            </a:r>
          </a:p>
        </p:txBody>
      </p:sp>
      <p:sp>
        <p:nvSpPr>
          <p:cNvPr id="3" name="Freihandform: Form 16">
            <a:extLst>
              <a:ext uri="{FF2B5EF4-FFF2-40B4-BE49-F238E27FC236}">
                <a16:creationId xmlns:a16="http://schemas.microsoft.com/office/drawing/2014/main" id="{96356AD3-6E7E-88F6-186B-CA496ED5DA6A}"/>
              </a:ext>
            </a:extLst>
          </p:cNvPr>
          <p:cNvSpPr>
            <a:spLocks/>
          </p:cNvSpPr>
          <p:nvPr/>
        </p:nvSpPr>
        <p:spPr>
          <a:xfrm>
            <a:off x="407988" y="1562099"/>
            <a:ext cx="6214654" cy="4495801"/>
          </a:xfrm>
          <a:custGeom>
            <a:avLst/>
            <a:gdLst>
              <a:gd name="connsiteX0" fmla="*/ 4651820 w 4651939"/>
              <a:gd name="connsiteY0" fmla="*/ 1243013 h 3267836"/>
              <a:gd name="connsiteX1" fmla="*/ 4651820 w 4651939"/>
              <a:gd name="connsiteY1" fmla="*/ 1253490 h 3267836"/>
              <a:gd name="connsiteX2" fmla="*/ 4561237 w 4651939"/>
              <a:gd name="connsiteY2" fmla="*/ 1480376 h 3267836"/>
              <a:gd name="connsiteX3" fmla="*/ 4393692 w 4651939"/>
              <a:gd name="connsiteY3" fmla="*/ 1389698 h 3267836"/>
              <a:gd name="connsiteX4" fmla="*/ 4271391 w 4651939"/>
              <a:gd name="connsiteY4" fmla="*/ 1633918 h 3267836"/>
              <a:gd name="connsiteX5" fmla="*/ 4149185 w 4651939"/>
              <a:gd name="connsiteY5" fmla="*/ 1878139 h 3267836"/>
              <a:gd name="connsiteX6" fmla="*/ 3981641 w 4651939"/>
              <a:gd name="connsiteY6" fmla="*/ 1787557 h 3267836"/>
              <a:gd name="connsiteX7" fmla="*/ 3890963 w 4651939"/>
              <a:gd name="connsiteY7" fmla="*/ 2014347 h 3267836"/>
              <a:gd name="connsiteX8" fmla="*/ 3890963 w 4651939"/>
              <a:gd name="connsiteY8" fmla="*/ 2024920 h 3267836"/>
              <a:gd name="connsiteX9" fmla="*/ 3981641 w 4651939"/>
              <a:gd name="connsiteY9" fmla="*/ 2262283 h 3267836"/>
              <a:gd name="connsiteX10" fmla="*/ 4149185 w 4651939"/>
              <a:gd name="connsiteY10" fmla="*/ 2171605 h 3267836"/>
              <a:gd name="connsiteX11" fmla="*/ 4271391 w 4651939"/>
              <a:gd name="connsiteY11" fmla="*/ 2415826 h 3267836"/>
              <a:gd name="connsiteX12" fmla="*/ 4271391 w 4651939"/>
              <a:gd name="connsiteY12" fmla="*/ 3267837 h 3267836"/>
              <a:gd name="connsiteX13" fmla="*/ 0 w 4651939"/>
              <a:gd name="connsiteY13" fmla="*/ 3267837 h 3267836"/>
              <a:gd name="connsiteX14" fmla="*/ 0 w 4651939"/>
              <a:gd name="connsiteY14" fmla="*/ 0 h 3267836"/>
              <a:gd name="connsiteX15" fmla="*/ 4271391 w 4651939"/>
              <a:gd name="connsiteY15" fmla="*/ 0 h 3267836"/>
              <a:gd name="connsiteX16" fmla="*/ 4271391 w 4651939"/>
              <a:gd name="connsiteY16" fmla="*/ 852011 h 3267836"/>
              <a:gd name="connsiteX17" fmla="*/ 4393692 w 4651939"/>
              <a:gd name="connsiteY17" fmla="*/ 1096232 h 3267836"/>
              <a:gd name="connsiteX18" fmla="*/ 4561237 w 4651939"/>
              <a:gd name="connsiteY18" fmla="*/ 1005650 h 3267836"/>
              <a:gd name="connsiteX19" fmla="*/ 4651820 w 4651939"/>
              <a:gd name="connsiteY19" fmla="*/ 1243013 h 3267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51939" h="3267836">
                <a:moveTo>
                  <a:pt x="4651820" y="1243013"/>
                </a:moveTo>
                <a:lnTo>
                  <a:pt x="4651820" y="1253490"/>
                </a:lnTo>
                <a:cubicBezTo>
                  <a:pt x="4651820" y="1299401"/>
                  <a:pt x="4646390" y="1480376"/>
                  <a:pt x="4561237" y="1480376"/>
                </a:cubicBezTo>
                <a:cubicBezTo>
                  <a:pt x="4463415" y="1480376"/>
                  <a:pt x="4484275" y="1389698"/>
                  <a:pt x="4393692" y="1389698"/>
                </a:cubicBezTo>
                <a:cubicBezTo>
                  <a:pt x="4303109" y="1389698"/>
                  <a:pt x="4271391" y="1511999"/>
                  <a:pt x="4271391" y="1633918"/>
                </a:cubicBezTo>
                <a:cubicBezTo>
                  <a:pt x="4271391" y="1755839"/>
                  <a:pt x="4240054" y="1878139"/>
                  <a:pt x="4149185" y="1878139"/>
                </a:cubicBezTo>
                <a:cubicBezTo>
                  <a:pt x="4058317" y="1878139"/>
                  <a:pt x="4079367" y="1787557"/>
                  <a:pt x="3981641" y="1787557"/>
                </a:cubicBezTo>
                <a:cubicBezTo>
                  <a:pt x="3896392" y="1787557"/>
                  <a:pt x="3890963" y="1968437"/>
                  <a:pt x="3890963" y="2014347"/>
                </a:cubicBezTo>
                <a:lnTo>
                  <a:pt x="3890963" y="2024920"/>
                </a:lnTo>
                <a:cubicBezTo>
                  <a:pt x="3890963" y="2024920"/>
                  <a:pt x="3883819" y="2262283"/>
                  <a:pt x="3981641" y="2262283"/>
                </a:cubicBezTo>
                <a:cubicBezTo>
                  <a:pt x="4079462" y="2262283"/>
                  <a:pt x="4058507" y="2171605"/>
                  <a:pt x="4149185" y="2171605"/>
                </a:cubicBezTo>
                <a:cubicBezTo>
                  <a:pt x="4239864" y="2171605"/>
                  <a:pt x="4271391" y="2293906"/>
                  <a:pt x="4271391" y="2415826"/>
                </a:cubicBezTo>
                <a:lnTo>
                  <a:pt x="4271391" y="3267837"/>
                </a:lnTo>
                <a:lnTo>
                  <a:pt x="0" y="3267837"/>
                </a:lnTo>
                <a:lnTo>
                  <a:pt x="0" y="0"/>
                </a:lnTo>
                <a:lnTo>
                  <a:pt x="4271391" y="0"/>
                </a:lnTo>
                <a:lnTo>
                  <a:pt x="4271391" y="852011"/>
                </a:lnTo>
                <a:cubicBezTo>
                  <a:pt x="4271391" y="974027"/>
                  <a:pt x="4302729" y="1096232"/>
                  <a:pt x="4393692" y="1096232"/>
                </a:cubicBezTo>
                <a:cubicBezTo>
                  <a:pt x="4484656" y="1096232"/>
                  <a:pt x="4463415" y="1005650"/>
                  <a:pt x="4561237" y="1005650"/>
                </a:cubicBezTo>
                <a:cubicBezTo>
                  <a:pt x="4659059" y="1005650"/>
                  <a:pt x="4651820" y="1243013"/>
                  <a:pt x="4651820" y="1243013"/>
                </a:cubicBezTo>
                <a:close/>
              </a:path>
            </a:pathLst>
          </a:cu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52000" rIns="288000" bIns="252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2400">
              <a:solidFill>
                <a:schemeClr val="tx2"/>
              </a:solidFill>
              <a:sym typeface="Futura"/>
            </a:endParaRPr>
          </a:p>
        </p:txBody>
      </p:sp>
      <p:sp>
        <p:nvSpPr>
          <p:cNvPr id="4" name="Freihandform: Form 17">
            <a:extLst>
              <a:ext uri="{FF2B5EF4-FFF2-40B4-BE49-F238E27FC236}">
                <a16:creationId xmlns:a16="http://schemas.microsoft.com/office/drawing/2014/main" id="{8C2D0BA9-ECD9-110E-4B3F-720C5118B955}"/>
              </a:ext>
            </a:extLst>
          </p:cNvPr>
          <p:cNvSpPr>
            <a:spLocks/>
          </p:cNvSpPr>
          <p:nvPr/>
        </p:nvSpPr>
        <p:spPr>
          <a:xfrm>
            <a:off x="5605882" y="1562099"/>
            <a:ext cx="6214643" cy="4495801"/>
          </a:xfrm>
          <a:custGeom>
            <a:avLst/>
            <a:gdLst>
              <a:gd name="connsiteX0" fmla="*/ 4651932 w 4651931"/>
              <a:gd name="connsiteY0" fmla="*/ 0 h 3267836"/>
              <a:gd name="connsiteX1" fmla="*/ 4651932 w 4651931"/>
              <a:gd name="connsiteY1" fmla="*/ 3267837 h 3267836"/>
              <a:gd name="connsiteX2" fmla="*/ 380541 w 4651931"/>
              <a:gd name="connsiteY2" fmla="*/ 3267837 h 3267836"/>
              <a:gd name="connsiteX3" fmla="*/ 380541 w 4651931"/>
              <a:gd name="connsiteY3" fmla="*/ 2415826 h 3267836"/>
              <a:gd name="connsiteX4" fmla="*/ 258335 w 4651931"/>
              <a:gd name="connsiteY4" fmla="*/ 2171605 h 3267836"/>
              <a:gd name="connsiteX5" fmla="*/ 90790 w 4651931"/>
              <a:gd name="connsiteY5" fmla="*/ 2262283 h 3267836"/>
              <a:gd name="connsiteX6" fmla="*/ 112 w 4651931"/>
              <a:gd name="connsiteY6" fmla="*/ 2024920 h 3267836"/>
              <a:gd name="connsiteX7" fmla="*/ 112 w 4651931"/>
              <a:gd name="connsiteY7" fmla="*/ 2014347 h 3267836"/>
              <a:gd name="connsiteX8" fmla="*/ 90790 w 4651931"/>
              <a:gd name="connsiteY8" fmla="*/ 1787557 h 3267836"/>
              <a:gd name="connsiteX9" fmla="*/ 258335 w 4651931"/>
              <a:gd name="connsiteY9" fmla="*/ 1878139 h 3267836"/>
              <a:gd name="connsiteX10" fmla="*/ 380541 w 4651931"/>
              <a:gd name="connsiteY10" fmla="*/ 1633918 h 3267836"/>
              <a:gd name="connsiteX11" fmla="*/ 502842 w 4651931"/>
              <a:gd name="connsiteY11" fmla="*/ 1389698 h 3267836"/>
              <a:gd name="connsiteX12" fmla="*/ 670386 w 4651931"/>
              <a:gd name="connsiteY12" fmla="*/ 1480376 h 3267836"/>
              <a:gd name="connsiteX13" fmla="*/ 760969 w 4651931"/>
              <a:gd name="connsiteY13" fmla="*/ 1253490 h 3267836"/>
              <a:gd name="connsiteX14" fmla="*/ 760969 w 4651931"/>
              <a:gd name="connsiteY14" fmla="*/ 1243013 h 3267836"/>
              <a:gd name="connsiteX15" fmla="*/ 670386 w 4651931"/>
              <a:gd name="connsiteY15" fmla="*/ 1005650 h 3267836"/>
              <a:gd name="connsiteX16" fmla="*/ 502842 w 4651931"/>
              <a:gd name="connsiteY16" fmla="*/ 1096232 h 3267836"/>
              <a:gd name="connsiteX17" fmla="*/ 380541 w 4651931"/>
              <a:gd name="connsiteY17" fmla="*/ 852011 h 3267836"/>
              <a:gd name="connsiteX18" fmla="*/ 380541 w 4651931"/>
              <a:gd name="connsiteY18" fmla="*/ 0 h 3267836"/>
              <a:gd name="connsiteX19" fmla="*/ 4651932 w 4651931"/>
              <a:gd name="connsiteY19" fmla="*/ 0 h 3267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51931" h="3267836">
                <a:moveTo>
                  <a:pt x="4651932" y="0"/>
                </a:moveTo>
                <a:lnTo>
                  <a:pt x="4651932" y="3267837"/>
                </a:lnTo>
                <a:lnTo>
                  <a:pt x="380541" y="3267837"/>
                </a:lnTo>
                <a:lnTo>
                  <a:pt x="380541" y="2415826"/>
                </a:lnTo>
                <a:cubicBezTo>
                  <a:pt x="380541" y="2293906"/>
                  <a:pt x="349203" y="2171605"/>
                  <a:pt x="258335" y="2171605"/>
                </a:cubicBezTo>
                <a:cubicBezTo>
                  <a:pt x="167466" y="2171605"/>
                  <a:pt x="188517" y="2262283"/>
                  <a:pt x="90790" y="2262283"/>
                </a:cubicBezTo>
                <a:cubicBezTo>
                  <a:pt x="-6936" y="2262283"/>
                  <a:pt x="112" y="2024920"/>
                  <a:pt x="112" y="2024920"/>
                </a:cubicBezTo>
                <a:lnTo>
                  <a:pt x="112" y="2014347"/>
                </a:lnTo>
                <a:cubicBezTo>
                  <a:pt x="112" y="1968437"/>
                  <a:pt x="5541" y="1787557"/>
                  <a:pt x="90790" y="1787557"/>
                </a:cubicBezTo>
                <a:cubicBezTo>
                  <a:pt x="188517" y="1787557"/>
                  <a:pt x="167657" y="1878139"/>
                  <a:pt x="258335" y="1878139"/>
                </a:cubicBezTo>
                <a:cubicBezTo>
                  <a:pt x="349013" y="1878139"/>
                  <a:pt x="380541" y="1755934"/>
                  <a:pt x="380541" y="1633918"/>
                </a:cubicBezTo>
                <a:cubicBezTo>
                  <a:pt x="380541" y="1511903"/>
                  <a:pt x="411878" y="1389698"/>
                  <a:pt x="502842" y="1389698"/>
                </a:cubicBezTo>
                <a:cubicBezTo>
                  <a:pt x="593805" y="1389698"/>
                  <a:pt x="572565" y="1480376"/>
                  <a:pt x="670386" y="1480376"/>
                </a:cubicBezTo>
                <a:cubicBezTo>
                  <a:pt x="755540" y="1480376"/>
                  <a:pt x="760969" y="1299401"/>
                  <a:pt x="760969" y="1253490"/>
                </a:cubicBezTo>
                <a:lnTo>
                  <a:pt x="760969" y="1243013"/>
                </a:lnTo>
                <a:cubicBezTo>
                  <a:pt x="760969" y="1243013"/>
                  <a:pt x="768113" y="1005650"/>
                  <a:pt x="670386" y="1005650"/>
                </a:cubicBezTo>
                <a:cubicBezTo>
                  <a:pt x="572660" y="1005650"/>
                  <a:pt x="593424" y="1096232"/>
                  <a:pt x="502842" y="1096232"/>
                </a:cubicBezTo>
                <a:cubicBezTo>
                  <a:pt x="412259" y="1096232"/>
                  <a:pt x="380541" y="974027"/>
                  <a:pt x="380541" y="852011"/>
                </a:cubicBezTo>
                <a:lnTo>
                  <a:pt x="380541" y="0"/>
                </a:lnTo>
                <a:lnTo>
                  <a:pt x="4651932" y="0"/>
                </a:lnTo>
                <a:close/>
              </a:path>
            </a:pathLst>
          </a:cu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6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endParaRPr lang="en-US" sz="2400">
              <a:solidFill>
                <a:schemeClr val="tx2"/>
              </a:solidFill>
              <a:sym typeface="Futura"/>
            </a:endParaRPr>
          </a:p>
        </p:txBody>
      </p:sp>
      <p:sp>
        <p:nvSpPr>
          <p:cNvPr id="6" name="Textfeld 19">
            <a:extLst>
              <a:ext uri="{FF2B5EF4-FFF2-40B4-BE49-F238E27FC236}">
                <a16:creationId xmlns:a16="http://schemas.microsoft.com/office/drawing/2014/main" id="{DEFCF89D-BEBC-1C5C-BC21-8A1DA150B1C9}"/>
              </a:ext>
            </a:extLst>
          </p:cNvPr>
          <p:cNvSpPr txBox="1">
            <a:spLocks/>
          </p:cNvSpPr>
          <p:nvPr/>
        </p:nvSpPr>
        <p:spPr>
          <a:xfrm>
            <a:off x="1234019" y="2581955"/>
            <a:ext cx="4569825" cy="11719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Textfeld 20">
            <a:extLst>
              <a:ext uri="{FF2B5EF4-FFF2-40B4-BE49-F238E27FC236}">
                <a16:creationId xmlns:a16="http://schemas.microsoft.com/office/drawing/2014/main" id="{F2F700B4-1F1A-2AC8-A50E-B19668DC682C}"/>
              </a:ext>
            </a:extLst>
          </p:cNvPr>
          <p:cNvSpPr txBox="1">
            <a:spLocks/>
          </p:cNvSpPr>
          <p:nvPr/>
        </p:nvSpPr>
        <p:spPr>
          <a:xfrm>
            <a:off x="1234019" y="4134536"/>
            <a:ext cx="4569825" cy="11719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pic>
        <p:nvPicPr>
          <p:cNvPr id="9" name="Grafik 22">
            <a:extLst>
              <a:ext uri="{FF2B5EF4-FFF2-40B4-BE49-F238E27FC236}">
                <a16:creationId xmlns:a16="http://schemas.microsoft.com/office/drawing/2014/main" id="{424B42E7-2121-30C6-CEC9-B5FB9710D49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489" y="4024595"/>
            <a:ext cx="466271" cy="466271"/>
          </a:xfrm>
          <a:prstGeom prst="rect">
            <a:avLst/>
          </a:prstGeom>
        </p:spPr>
      </p:pic>
      <p:pic>
        <p:nvPicPr>
          <p:cNvPr id="11" name="Grafik 24">
            <a:extLst>
              <a:ext uri="{FF2B5EF4-FFF2-40B4-BE49-F238E27FC236}">
                <a16:creationId xmlns:a16="http://schemas.microsoft.com/office/drawing/2014/main" id="{E0F746DB-E639-1912-63F7-DAD2539148E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3489" y="2456245"/>
            <a:ext cx="466271" cy="466271"/>
          </a:xfrm>
          <a:prstGeom prst="rect">
            <a:avLst/>
          </a:prstGeom>
        </p:spPr>
      </p:pic>
      <p:sp>
        <p:nvSpPr>
          <p:cNvPr id="12" name="Textfeld 25">
            <a:extLst>
              <a:ext uri="{FF2B5EF4-FFF2-40B4-BE49-F238E27FC236}">
                <a16:creationId xmlns:a16="http://schemas.microsoft.com/office/drawing/2014/main" id="{50920447-AA31-5712-CCA1-74739949D78D}"/>
              </a:ext>
            </a:extLst>
          </p:cNvPr>
          <p:cNvSpPr txBox="1">
            <a:spLocks/>
          </p:cNvSpPr>
          <p:nvPr/>
        </p:nvSpPr>
        <p:spPr>
          <a:xfrm>
            <a:off x="7448673" y="2581955"/>
            <a:ext cx="4068017" cy="11719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3" name="Textfeld 26">
            <a:extLst>
              <a:ext uri="{FF2B5EF4-FFF2-40B4-BE49-F238E27FC236}">
                <a16:creationId xmlns:a16="http://schemas.microsoft.com/office/drawing/2014/main" id="{3E10D00F-AA7A-6D4E-59CE-E8B37FF3D733}"/>
              </a:ext>
            </a:extLst>
          </p:cNvPr>
          <p:cNvSpPr txBox="1">
            <a:spLocks/>
          </p:cNvSpPr>
          <p:nvPr/>
        </p:nvSpPr>
        <p:spPr>
          <a:xfrm>
            <a:off x="7448673" y="4134536"/>
            <a:ext cx="4068017" cy="11719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</p:txBody>
      </p:sp>
      <p:pic>
        <p:nvPicPr>
          <p:cNvPr id="14" name="Grafik 27">
            <a:extLst>
              <a:ext uri="{FF2B5EF4-FFF2-40B4-BE49-F238E27FC236}">
                <a16:creationId xmlns:a16="http://schemas.microsoft.com/office/drawing/2014/main" id="{F0A497D9-A8E2-9B7F-A080-882E697521F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48143" y="4024595"/>
            <a:ext cx="466271" cy="466271"/>
          </a:xfrm>
          <a:prstGeom prst="rect">
            <a:avLst/>
          </a:prstGeom>
        </p:spPr>
      </p:pic>
      <p:pic>
        <p:nvPicPr>
          <p:cNvPr id="15" name="Grafik 28">
            <a:extLst>
              <a:ext uri="{FF2B5EF4-FFF2-40B4-BE49-F238E27FC236}">
                <a16:creationId xmlns:a16="http://schemas.microsoft.com/office/drawing/2014/main" id="{2F1B5884-C2B5-6CB6-626C-7E97145ED14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48143" y="2456245"/>
            <a:ext cx="466271" cy="466271"/>
          </a:xfrm>
          <a:prstGeom prst="rect">
            <a:avLst/>
          </a:prstGeom>
        </p:spPr>
      </p:pic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EF1F378C-2528-74FA-93A0-4A7889C0B25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39007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rocesses, puzzl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2078670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